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790" r:id="rId4"/>
  </p:sldMasterIdLst>
  <p:notesMasterIdLst>
    <p:notesMasterId r:id="rId15"/>
  </p:notesMasterIdLst>
  <p:sldIdLst>
    <p:sldId id="257" r:id="rId5"/>
    <p:sldId id="333" r:id="rId6"/>
    <p:sldId id="334" r:id="rId7"/>
    <p:sldId id="335" r:id="rId8"/>
    <p:sldId id="339" r:id="rId9"/>
    <p:sldId id="336" r:id="rId10"/>
    <p:sldId id="337" r:id="rId11"/>
    <p:sldId id="340" r:id="rId12"/>
    <p:sldId id="341" r:id="rId13"/>
    <p:sldId id="342" r:id="rId1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125E5076-3810-47DD-B79F-674D7AD40C01}" styleName="深色样式 1 - 强调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90" autoAdjust="0"/>
    <p:restoredTop sz="94660"/>
  </p:normalViewPr>
  <p:slideViewPr>
    <p:cSldViewPr snapToGrid="0">
      <p:cViewPr varScale="1">
        <p:scale>
          <a:sx n="111" d="100"/>
          <a:sy n="111" d="100"/>
        </p:scale>
        <p:origin x="552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F876AC5-A26D-451C-BAE7-215BE60F6AD1}" type="datetimeFigureOut">
              <a:rPr lang="en-IN" smtClean="0"/>
              <a:t>05-12-2025</a:t>
            </a:fld>
            <a:endParaRPr lang="en-IN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E7EFEE7-59D0-475D-9E4E-44CD04DD58A0}" type="slidenum">
              <a:rPr lang="en-IN" smtClean="0"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6696820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2130430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1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01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030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9046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2061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5077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809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1108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4123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85" y="6485876"/>
            <a:ext cx="2845171" cy="365925"/>
          </a:xfrm>
        </p:spPr>
        <p:txBody>
          <a:bodyPr/>
          <a:lstStyle>
            <a:lvl1pPr>
              <a:defRPr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58940537-CF1B-4C39-8B82-C30CD92B0219}" type="datetimeFigureOut">
              <a:rPr kumimoji="0" lang="en-IN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5-12-2025</a:t>
            </a:fld>
            <a:endParaRPr kumimoji="0" lang="en-IN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IN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4D250BA1-C627-4B91-B7DD-81016FBB1620}" type="slidenum">
              <a:rPr kumimoji="0" lang="en-IN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‹#›</a:t>
            </a:fld>
            <a:endParaRPr kumimoji="0" lang="en-IN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476085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58940537-CF1B-4C39-8B82-C30CD92B0219}" type="datetimeFigureOut">
              <a:rPr kumimoji="0" lang="en-IN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5-12-2025</a:t>
            </a:fld>
            <a:endParaRPr kumimoji="0" lang="en-IN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IN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4D250BA1-C627-4B91-B7DD-81016FBB1620}" type="slidenum">
              <a:rPr kumimoji="0" lang="en-IN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‹#›</a:t>
            </a:fld>
            <a:endParaRPr kumimoji="0" lang="en-IN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066382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785603" y="280993"/>
            <a:ext cx="3655484" cy="59912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12800" y="280993"/>
            <a:ext cx="10769600" cy="5991225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58940537-CF1B-4C39-8B82-C30CD92B0219}" type="datetimeFigureOut">
              <a:rPr kumimoji="0" lang="en-IN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5-12-2025</a:t>
            </a:fld>
            <a:endParaRPr kumimoji="0" lang="en-IN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IN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4D250BA1-C627-4B91-B7DD-81016FBB1620}" type="slidenum">
              <a:rPr kumimoji="0" lang="en-IN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‹#›</a:t>
            </a:fld>
            <a:endParaRPr kumimoji="0" lang="en-IN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4291521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23DE32A5-6181-4C51-AD5C-3F1A448478A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529" y="339509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</p:spTree>
    <p:extLst>
      <p:ext uri="{BB962C8B-B14F-4D97-AF65-F5344CB8AC3E}">
        <p14:creationId xmlns:p14="http://schemas.microsoft.com/office/powerpoint/2010/main" val="181705301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609600" y="457201"/>
            <a:ext cx="10972800" cy="536416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09600" y="6245225"/>
            <a:ext cx="2846917" cy="476251"/>
          </a:xfrm>
        </p:spPr>
        <p:txBody>
          <a:bodyPr/>
          <a:lstStyle>
            <a:lvl1pPr>
              <a:defRPr/>
            </a:lvl1pPr>
          </a:lstStyle>
          <a:p>
            <a:pPr marL="0" marR="0" lvl="0" indent="0" algn="l" defTabSz="10718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C0F92DB5-5D5C-445A-B213-8A3E64C94CFE}" type="datetimeFigureOut">
              <a:rPr kumimoji="0" lang="en-US" sz="1365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2/5/2025</a:t>
            </a:fld>
            <a:endParaRPr kumimoji="0" lang="en-US" sz="1365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165600" y="6245225"/>
            <a:ext cx="3862917" cy="476251"/>
          </a:xfrm>
        </p:spPr>
        <p:txBody>
          <a:bodyPr/>
          <a:lstStyle>
            <a:lvl1pPr>
              <a:defRPr/>
            </a:lvl1pPr>
          </a:lstStyle>
          <a:p>
            <a:pPr marL="0" marR="0" lvl="0" indent="0" algn="ctr" defTabSz="10718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365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37600" y="6245225"/>
            <a:ext cx="2844800" cy="476251"/>
          </a:xfrm>
        </p:spPr>
        <p:txBody>
          <a:bodyPr/>
          <a:lstStyle>
            <a:lvl1pPr>
              <a:defRPr/>
            </a:lvl1pPr>
          </a:lstStyle>
          <a:p>
            <a:pPr marL="0" marR="0" lvl="0" indent="0" algn="r" defTabSz="10718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7F97CCB3-411A-4FDA-BB0C-205D6F511244}" type="slidenum">
              <a:rPr kumimoji="0" lang="en-US" sz="1365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‹#›</a:t>
            </a:fld>
            <a:endParaRPr kumimoji="0" lang="en-US" sz="1365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954067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0" y="200177"/>
            <a:ext cx="12192000" cy="77577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>
              <a:defRPr sz="48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Rectangle 6">
            <a:extLst>
              <a:ext uri="{FF2B5EF4-FFF2-40B4-BE49-F238E27FC236}">
                <a16:creationId xmlns:a16="http://schemas.microsoft.com/office/drawing/2014/main" id="{55674156-3125-48CE-B7AD-16F5FF6CA05A}"/>
              </a:ext>
            </a:extLst>
          </p:cNvPr>
          <p:cNvSpPr/>
          <p:nvPr/>
        </p:nvSpPr>
        <p:spPr>
          <a:xfrm>
            <a:off x="0" y="6597352"/>
            <a:ext cx="12192000" cy="260648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800"/>
          </a:p>
        </p:txBody>
      </p:sp>
      <p:sp>
        <p:nvSpPr>
          <p:cNvPr id="10" name="텍스트 개체 틀 2">
            <a:extLst>
              <a:ext uri="{FF2B5EF4-FFF2-40B4-BE49-F238E27FC236}">
                <a16:creationId xmlns:a16="http://schemas.microsoft.com/office/drawing/2014/main" id="{BEA53C6E-B822-48C1-AE43-123E9E431F64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0" y="1005381"/>
            <a:ext cx="12192000" cy="419379"/>
          </a:xfrm>
          <a:prstGeom prst="rect">
            <a:avLst/>
          </a:prstGeom>
        </p:spPr>
        <p:txBody>
          <a:bodyPr anchor="ctr"/>
          <a:lstStyle>
            <a:lvl1pPr marL="0" marR="0" indent="0" algn="ctr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dirty="0"/>
              <a:t>Subtitle in this lin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6526936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52396" y="955084"/>
            <a:ext cx="10529924" cy="1142741"/>
          </a:xfrm>
        </p:spPr>
        <p:txBody>
          <a:bodyPr/>
          <a:lstStyle>
            <a:lvl1pPr algn="l">
              <a:defRPr sz="32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52399" y="2097824"/>
            <a:ext cx="10529924" cy="4028329"/>
          </a:xfrm>
        </p:spPr>
        <p:txBody>
          <a:bodyPr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58940537-CF1B-4C39-8B82-C30CD92B0219}" type="datetimeFigureOut">
              <a:rPr kumimoji="0" lang="en-IN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5-12-2025</a:t>
            </a:fld>
            <a:endParaRPr kumimoji="0" lang="en-IN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IN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4D250BA1-C627-4B91-B7DD-81016FBB1620}" type="slidenum">
              <a:rPr kumimoji="0" lang="en-IN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‹#›</a:t>
            </a:fld>
            <a:endParaRPr kumimoji="0" lang="en-IN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017338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5" y="4406904"/>
            <a:ext cx="10363200" cy="1362075"/>
          </a:xfrm>
        </p:spPr>
        <p:txBody>
          <a:bodyPr anchor="t"/>
          <a:lstStyle>
            <a:lvl1pPr algn="l">
              <a:defRPr sz="2637" b="1" cap="all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5" y="2906718"/>
            <a:ext cx="10363200" cy="1500187"/>
          </a:xfrm>
        </p:spPr>
        <p:txBody>
          <a:bodyPr anchor="b"/>
          <a:lstStyle>
            <a:lvl1pPr marL="0" indent="0">
              <a:buNone/>
              <a:defRPr sz="1319">
                <a:solidFill>
                  <a:schemeClr val="tx1">
                    <a:tint val="75000"/>
                  </a:schemeClr>
                </a:solidFill>
              </a:defRPr>
            </a:lvl1pPr>
            <a:lvl2pPr marL="301545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2pPr>
            <a:lvl3pPr marL="603090" indent="0">
              <a:buNone/>
              <a:defRPr sz="1044">
                <a:solidFill>
                  <a:schemeClr val="tx1">
                    <a:tint val="75000"/>
                  </a:schemeClr>
                </a:solidFill>
              </a:defRPr>
            </a:lvl3pPr>
            <a:lvl4pPr marL="904635" indent="0">
              <a:buNone/>
              <a:defRPr sz="934">
                <a:solidFill>
                  <a:schemeClr val="tx1">
                    <a:tint val="75000"/>
                  </a:schemeClr>
                </a:solidFill>
              </a:defRPr>
            </a:lvl4pPr>
            <a:lvl5pPr marL="1206179" indent="0">
              <a:buNone/>
              <a:defRPr sz="934">
                <a:solidFill>
                  <a:schemeClr val="tx1">
                    <a:tint val="75000"/>
                  </a:schemeClr>
                </a:solidFill>
              </a:defRPr>
            </a:lvl5pPr>
            <a:lvl6pPr marL="1507725" indent="0">
              <a:buNone/>
              <a:defRPr sz="934">
                <a:solidFill>
                  <a:schemeClr val="tx1">
                    <a:tint val="75000"/>
                  </a:schemeClr>
                </a:solidFill>
              </a:defRPr>
            </a:lvl6pPr>
            <a:lvl7pPr marL="1809270" indent="0">
              <a:buNone/>
              <a:defRPr sz="934">
                <a:solidFill>
                  <a:schemeClr val="tx1">
                    <a:tint val="75000"/>
                  </a:schemeClr>
                </a:solidFill>
              </a:defRPr>
            </a:lvl7pPr>
            <a:lvl8pPr marL="2110815" indent="0">
              <a:buNone/>
              <a:defRPr sz="934">
                <a:solidFill>
                  <a:schemeClr val="tx1">
                    <a:tint val="75000"/>
                  </a:schemeClr>
                </a:solidFill>
              </a:defRPr>
            </a:lvl8pPr>
            <a:lvl9pPr marL="2412360" indent="0">
              <a:buNone/>
              <a:defRPr sz="93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58940537-CF1B-4C39-8B82-C30CD92B0219}" type="datetimeFigureOut">
              <a:rPr kumimoji="0" lang="en-IN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5-12-2025</a:t>
            </a:fld>
            <a:endParaRPr kumimoji="0" lang="en-IN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IN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4D250BA1-C627-4B91-B7DD-81016FBB1620}" type="slidenum">
              <a:rPr kumimoji="0" lang="en-IN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‹#›</a:t>
            </a:fld>
            <a:endParaRPr kumimoji="0" lang="en-IN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798063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12802" y="1638305"/>
            <a:ext cx="7211484" cy="4633913"/>
          </a:xfrm>
        </p:spPr>
        <p:txBody>
          <a:bodyPr/>
          <a:lstStyle>
            <a:lvl1pPr>
              <a:defRPr sz="1868"/>
            </a:lvl1pPr>
            <a:lvl2pPr>
              <a:defRPr sz="1593"/>
            </a:lvl2pPr>
            <a:lvl3pPr>
              <a:defRPr sz="1319"/>
            </a:lvl3pPr>
            <a:lvl4pPr>
              <a:defRPr sz="1209"/>
            </a:lvl4pPr>
            <a:lvl5pPr>
              <a:defRPr sz="1209"/>
            </a:lvl5pPr>
            <a:lvl6pPr>
              <a:defRPr sz="1209"/>
            </a:lvl6pPr>
            <a:lvl7pPr>
              <a:defRPr sz="1209"/>
            </a:lvl7pPr>
            <a:lvl8pPr>
              <a:defRPr sz="1209"/>
            </a:lvl8pPr>
            <a:lvl9pPr>
              <a:defRPr sz="1209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227484" y="1638305"/>
            <a:ext cx="7213600" cy="4633913"/>
          </a:xfrm>
        </p:spPr>
        <p:txBody>
          <a:bodyPr/>
          <a:lstStyle>
            <a:lvl1pPr>
              <a:defRPr sz="1868"/>
            </a:lvl1pPr>
            <a:lvl2pPr>
              <a:defRPr sz="1593"/>
            </a:lvl2pPr>
            <a:lvl3pPr>
              <a:defRPr sz="1319"/>
            </a:lvl3pPr>
            <a:lvl4pPr>
              <a:defRPr sz="1209"/>
            </a:lvl4pPr>
            <a:lvl5pPr>
              <a:defRPr sz="1209"/>
            </a:lvl5pPr>
            <a:lvl6pPr>
              <a:defRPr sz="1209"/>
            </a:lvl6pPr>
            <a:lvl7pPr>
              <a:defRPr sz="1209"/>
            </a:lvl7pPr>
            <a:lvl8pPr>
              <a:defRPr sz="1209"/>
            </a:lvl8pPr>
            <a:lvl9pPr>
              <a:defRPr sz="1209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58940537-CF1B-4C39-8B82-C30CD92B0219}" type="datetimeFigureOut">
              <a:rPr kumimoji="0" lang="en-IN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5-12-2025</a:t>
            </a:fld>
            <a:endParaRPr kumimoji="0" lang="en-IN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IN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4D250BA1-C627-4B91-B7DD-81016FBB1620}" type="slidenum">
              <a:rPr kumimoji="0" lang="en-IN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‹#›</a:t>
            </a:fld>
            <a:endParaRPr kumimoji="0" lang="en-IN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52859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1593" b="1"/>
            </a:lvl1pPr>
            <a:lvl2pPr marL="301545" indent="0">
              <a:buNone/>
              <a:defRPr sz="1319" b="1"/>
            </a:lvl2pPr>
            <a:lvl3pPr marL="603090" indent="0">
              <a:buNone/>
              <a:defRPr sz="1209" b="1"/>
            </a:lvl3pPr>
            <a:lvl4pPr marL="904635" indent="0">
              <a:buNone/>
              <a:defRPr sz="1044" b="1"/>
            </a:lvl4pPr>
            <a:lvl5pPr marL="1206179" indent="0">
              <a:buNone/>
              <a:defRPr sz="1044" b="1"/>
            </a:lvl5pPr>
            <a:lvl6pPr marL="1507725" indent="0">
              <a:buNone/>
              <a:defRPr sz="1044" b="1"/>
            </a:lvl6pPr>
            <a:lvl7pPr marL="1809270" indent="0">
              <a:buNone/>
              <a:defRPr sz="1044" b="1"/>
            </a:lvl7pPr>
            <a:lvl8pPr marL="2110815" indent="0">
              <a:buNone/>
              <a:defRPr sz="1044" b="1"/>
            </a:lvl8pPr>
            <a:lvl9pPr marL="2412360" indent="0">
              <a:buNone/>
              <a:defRPr sz="1044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6"/>
            <a:ext cx="5386917" cy="3951288"/>
          </a:xfrm>
        </p:spPr>
        <p:txBody>
          <a:bodyPr/>
          <a:lstStyle>
            <a:lvl1pPr>
              <a:defRPr sz="1593"/>
            </a:lvl1pPr>
            <a:lvl2pPr>
              <a:defRPr sz="1319"/>
            </a:lvl2pPr>
            <a:lvl3pPr>
              <a:defRPr sz="1209"/>
            </a:lvl3pPr>
            <a:lvl4pPr>
              <a:defRPr sz="1044"/>
            </a:lvl4pPr>
            <a:lvl5pPr>
              <a:defRPr sz="1044"/>
            </a:lvl5pPr>
            <a:lvl6pPr>
              <a:defRPr sz="1044"/>
            </a:lvl6pPr>
            <a:lvl7pPr>
              <a:defRPr sz="1044"/>
            </a:lvl7pPr>
            <a:lvl8pPr>
              <a:defRPr sz="1044"/>
            </a:lvl8pPr>
            <a:lvl9pPr>
              <a:defRPr sz="1044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70" y="1535113"/>
            <a:ext cx="5389033" cy="639762"/>
          </a:xfrm>
        </p:spPr>
        <p:txBody>
          <a:bodyPr anchor="b"/>
          <a:lstStyle>
            <a:lvl1pPr marL="0" indent="0">
              <a:buNone/>
              <a:defRPr sz="1593" b="1"/>
            </a:lvl1pPr>
            <a:lvl2pPr marL="301545" indent="0">
              <a:buNone/>
              <a:defRPr sz="1319" b="1"/>
            </a:lvl2pPr>
            <a:lvl3pPr marL="603090" indent="0">
              <a:buNone/>
              <a:defRPr sz="1209" b="1"/>
            </a:lvl3pPr>
            <a:lvl4pPr marL="904635" indent="0">
              <a:buNone/>
              <a:defRPr sz="1044" b="1"/>
            </a:lvl4pPr>
            <a:lvl5pPr marL="1206179" indent="0">
              <a:buNone/>
              <a:defRPr sz="1044" b="1"/>
            </a:lvl5pPr>
            <a:lvl6pPr marL="1507725" indent="0">
              <a:buNone/>
              <a:defRPr sz="1044" b="1"/>
            </a:lvl6pPr>
            <a:lvl7pPr marL="1809270" indent="0">
              <a:buNone/>
              <a:defRPr sz="1044" b="1"/>
            </a:lvl7pPr>
            <a:lvl8pPr marL="2110815" indent="0">
              <a:buNone/>
              <a:defRPr sz="1044" b="1"/>
            </a:lvl8pPr>
            <a:lvl9pPr marL="2412360" indent="0">
              <a:buNone/>
              <a:defRPr sz="1044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70" y="2174876"/>
            <a:ext cx="5389033" cy="3951288"/>
          </a:xfrm>
        </p:spPr>
        <p:txBody>
          <a:bodyPr/>
          <a:lstStyle>
            <a:lvl1pPr>
              <a:defRPr sz="1593"/>
            </a:lvl1pPr>
            <a:lvl2pPr>
              <a:defRPr sz="1319"/>
            </a:lvl2pPr>
            <a:lvl3pPr>
              <a:defRPr sz="1209"/>
            </a:lvl3pPr>
            <a:lvl4pPr>
              <a:defRPr sz="1044"/>
            </a:lvl4pPr>
            <a:lvl5pPr>
              <a:defRPr sz="1044"/>
            </a:lvl5pPr>
            <a:lvl6pPr>
              <a:defRPr sz="1044"/>
            </a:lvl6pPr>
            <a:lvl7pPr>
              <a:defRPr sz="1044"/>
            </a:lvl7pPr>
            <a:lvl8pPr>
              <a:defRPr sz="1044"/>
            </a:lvl8pPr>
            <a:lvl9pPr>
              <a:defRPr sz="1044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58940537-CF1B-4C39-8B82-C30CD92B0219}" type="datetimeFigureOut">
              <a:rPr kumimoji="0" lang="en-IN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5-12-2025</a:t>
            </a:fld>
            <a:endParaRPr kumimoji="0" lang="en-IN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IN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4D250BA1-C627-4B91-B7DD-81016FBB1620}" type="slidenum">
              <a:rPr kumimoji="0" lang="en-IN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‹#›</a:t>
            </a:fld>
            <a:endParaRPr kumimoji="0" lang="en-IN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554958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58940537-CF1B-4C39-8B82-C30CD92B0219}" type="datetimeFigureOut">
              <a:rPr kumimoji="0" lang="en-IN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5-12-2025</a:t>
            </a:fld>
            <a:endParaRPr kumimoji="0" lang="en-IN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IN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4D250BA1-C627-4B91-B7DD-81016FBB1620}" type="slidenum">
              <a:rPr kumimoji="0" lang="en-IN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‹#›</a:t>
            </a:fld>
            <a:endParaRPr kumimoji="0" lang="en-IN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1463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43670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58940537-CF1B-4C39-8B82-C30CD92B0219}" type="datetimeFigureOut">
              <a:rPr kumimoji="0" lang="en-IN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5-12-2025</a:t>
            </a:fld>
            <a:endParaRPr kumimoji="0" lang="en-IN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IN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4D250BA1-C627-4B91-B7DD-81016FBB1620}" type="slidenum">
              <a:rPr kumimoji="0" lang="en-IN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‹#›</a:t>
            </a:fld>
            <a:endParaRPr kumimoji="0" lang="en-IN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1757493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73050"/>
            <a:ext cx="4011084" cy="1162050"/>
          </a:xfrm>
        </p:spPr>
        <p:txBody>
          <a:bodyPr anchor="b"/>
          <a:lstStyle>
            <a:lvl1pPr algn="l">
              <a:defRPr sz="1319" b="1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5"/>
            <a:ext cx="6815667" cy="5853113"/>
          </a:xfrm>
        </p:spPr>
        <p:txBody>
          <a:bodyPr/>
          <a:lstStyle>
            <a:lvl1pPr>
              <a:defRPr sz="2087"/>
            </a:lvl1pPr>
            <a:lvl2pPr>
              <a:defRPr sz="1868"/>
            </a:lvl2pPr>
            <a:lvl3pPr>
              <a:defRPr sz="1593"/>
            </a:lvl3pPr>
            <a:lvl4pPr>
              <a:defRPr sz="1319"/>
            </a:lvl4pPr>
            <a:lvl5pPr>
              <a:defRPr sz="1319"/>
            </a:lvl5pPr>
            <a:lvl6pPr>
              <a:defRPr sz="1319"/>
            </a:lvl6pPr>
            <a:lvl7pPr>
              <a:defRPr sz="1319"/>
            </a:lvl7pPr>
            <a:lvl8pPr>
              <a:defRPr sz="1319"/>
            </a:lvl8pPr>
            <a:lvl9pPr>
              <a:defRPr sz="1319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2" y="1435103"/>
            <a:ext cx="4011084" cy="4691063"/>
          </a:xfrm>
        </p:spPr>
        <p:txBody>
          <a:bodyPr/>
          <a:lstStyle>
            <a:lvl1pPr marL="0" indent="0">
              <a:buNone/>
              <a:defRPr sz="934"/>
            </a:lvl1pPr>
            <a:lvl2pPr marL="301545" indent="0">
              <a:buNone/>
              <a:defRPr sz="769"/>
            </a:lvl2pPr>
            <a:lvl3pPr marL="603090" indent="0">
              <a:buNone/>
              <a:defRPr sz="659"/>
            </a:lvl3pPr>
            <a:lvl4pPr marL="904635" indent="0">
              <a:buNone/>
              <a:defRPr sz="605"/>
            </a:lvl4pPr>
            <a:lvl5pPr marL="1206179" indent="0">
              <a:buNone/>
              <a:defRPr sz="605"/>
            </a:lvl5pPr>
            <a:lvl6pPr marL="1507725" indent="0">
              <a:buNone/>
              <a:defRPr sz="605"/>
            </a:lvl6pPr>
            <a:lvl7pPr marL="1809270" indent="0">
              <a:buNone/>
              <a:defRPr sz="605"/>
            </a:lvl7pPr>
            <a:lvl8pPr marL="2110815" indent="0">
              <a:buNone/>
              <a:defRPr sz="605"/>
            </a:lvl8pPr>
            <a:lvl9pPr marL="2412360" indent="0">
              <a:buNone/>
              <a:defRPr sz="605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58940537-CF1B-4C39-8B82-C30CD92B0219}" type="datetimeFigureOut">
              <a:rPr kumimoji="0" lang="en-IN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5-12-2025</a:t>
            </a:fld>
            <a:endParaRPr kumimoji="0" lang="en-IN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IN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4D250BA1-C627-4B91-B7DD-81016FBB1620}" type="slidenum">
              <a:rPr kumimoji="0" lang="en-IN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‹#›</a:t>
            </a:fld>
            <a:endParaRPr kumimoji="0" lang="en-IN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7308106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1"/>
            <a:ext cx="7315200" cy="566738"/>
          </a:xfrm>
        </p:spPr>
        <p:txBody>
          <a:bodyPr anchor="b"/>
          <a:lstStyle>
            <a:lvl1pPr algn="l">
              <a:defRPr sz="1319" b="1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2087"/>
            </a:lvl1pPr>
            <a:lvl2pPr marL="301545" indent="0">
              <a:buNone/>
              <a:defRPr sz="1868"/>
            </a:lvl2pPr>
            <a:lvl3pPr marL="603090" indent="0">
              <a:buNone/>
              <a:defRPr sz="1593"/>
            </a:lvl3pPr>
            <a:lvl4pPr marL="904635" indent="0">
              <a:buNone/>
              <a:defRPr sz="1319"/>
            </a:lvl4pPr>
            <a:lvl5pPr marL="1206179" indent="0">
              <a:buNone/>
              <a:defRPr sz="1319"/>
            </a:lvl5pPr>
            <a:lvl6pPr marL="1507725" indent="0">
              <a:buNone/>
              <a:defRPr sz="1319"/>
            </a:lvl6pPr>
            <a:lvl7pPr marL="1809270" indent="0">
              <a:buNone/>
              <a:defRPr sz="1319"/>
            </a:lvl7pPr>
            <a:lvl8pPr marL="2110815" indent="0">
              <a:buNone/>
              <a:defRPr sz="1319"/>
            </a:lvl8pPr>
            <a:lvl9pPr marL="2412360" indent="0">
              <a:buNone/>
              <a:defRPr sz="1319"/>
            </a:lvl9pPr>
          </a:lstStyle>
          <a:p>
            <a:pPr lvl="0"/>
            <a:r>
              <a:rPr lang="en-US" noProof="0"/>
              <a:t>Click icon to add picture</a:t>
            </a:r>
            <a:endParaRPr lang="en-IN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934"/>
            </a:lvl1pPr>
            <a:lvl2pPr marL="301545" indent="0">
              <a:buNone/>
              <a:defRPr sz="769"/>
            </a:lvl2pPr>
            <a:lvl3pPr marL="603090" indent="0">
              <a:buNone/>
              <a:defRPr sz="659"/>
            </a:lvl3pPr>
            <a:lvl4pPr marL="904635" indent="0">
              <a:buNone/>
              <a:defRPr sz="605"/>
            </a:lvl4pPr>
            <a:lvl5pPr marL="1206179" indent="0">
              <a:buNone/>
              <a:defRPr sz="605"/>
            </a:lvl5pPr>
            <a:lvl6pPr marL="1507725" indent="0">
              <a:buNone/>
              <a:defRPr sz="605"/>
            </a:lvl6pPr>
            <a:lvl7pPr marL="1809270" indent="0">
              <a:buNone/>
              <a:defRPr sz="605"/>
            </a:lvl7pPr>
            <a:lvl8pPr marL="2110815" indent="0">
              <a:buNone/>
              <a:defRPr sz="605"/>
            </a:lvl8pPr>
            <a:lvl9pPr marL="2412360" indent="0">
              <a:buNone/>
              <a:defRPr sz="605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58940537-CF1B-4C39-8B82-C30CD92B0219}" type="datetimeFigureOut">
              <a:rPr kumimoji="0" lang="en-IN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5-12-2025</a:t>
            </a:fld>
            <a:endParaRPr kumimoji="0" lang="en-IN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IN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4D250BA1-C627-4B91-B7DD-81016FBB1620}" type="slidenum">
              <a:rPr kumimoji="0" lang="en-IN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‹#›</a:t>
            </a:fld>
            <a:endParaRPr kumimoji="0" lang="en-IN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407476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303252" y="1271561"/>
            <a:ext cx="11583912" cy="1404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09774" tIns="54887" rIns="109774" bIns="54887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57312" y="2705746"/>
            <a:ext cx="10972641" cy="45260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09774" tIns="54887" rIns="109774" bIns="5488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81" y="6485877"/>
            <a:ext cx="2845171" cy="365925"/>
          </a:xfrm>
          <a:prstGeom prst="rect">
            <a:avLst/>
          </a:prstGeom>
        </p:spPr>
        <p:txBody>
          <a:bodyPr vert="horz" lIns="109774" tIns="54887" rIns="109774" bIns="54887" rtlCol="0" anchor="ctr"/>
          <a:lstStyle>
            <a:lvl1pPr algn="l" defTabSz="603090" fontAlgn="auto">
              <a:spcBef>
                <a:spcPts val="0"/>
              </a:spcBef>
              <a:spcAft>
                <a:spcPts val="0"/>
              </a:spcAft>
              <a:defRPr sz="769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 marL="0" marR="0" lvl="0" indent="0" algn="l" defTabSz="10718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C0F92DB5-5D5C-445A-B213-8A3E64C94CFE}" type="datetimeFigureOut">
              <a:rPr kumimoji="0" lang="en-US" sz="1365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2/5/2025</a:t>
            </a:fld>
            <a:endParaRPr kumimoji="0" lang="en-US" sz="1365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6145" y="6485877"/>
            <a:ext cx="3859715" cy="365925"/>
          </a:xfrm>
          <a:prstGeom prst="rect">
            <a:avLst/>
          </a:prstGeom>
        </p:spPr>
        <p:txBody>
          <a:bodyPr vert="horz" lIns="109774" tIns="54887" rIns="109774" bIns="54887" rtlCol="0" anchor="ctr"/>
          <a:lstStyle>
            <a:lvl1pPr algn="ctr" defTabSz="603090" fontAlgn="auto">
              <a:spcBef>
                <a:spcPts val="0"/>
              </a:spcBef>
              <a:spcAft>
                <a:spcPts val="0"/>
              </a:spcAft>
              <a:defRPr sz="769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 marL="0" marR="0" lvl="0" indent="0" algn="ctr" defTabSz="10718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365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149" y="6485877"/>
            <a:ext cx="2845171" cy="365925"/>
          </a:xfrm>
          <a:prstGeom prst="rect">
            <a:avLst/>
          </a:prstGeom>
        </p:spPr>
        <p:txBody>
          <a:bodyPr vert="horz" lIns="109774" tIns="54887" rIns="109774" bIns="54887" rtlCol="0" anchor="ctr"/>
          <a:lstStyle>
            <a:lvl1pPr algn="r" defTabSz="603090" fontAlgn="auto">
              <a:spcBef>
                <a:spcPts val="0"/>
              </a:spcBef>
              <a:spcAft>
                <a:spcPts val="0"/>
              </a:spcAft>
              <a:defRPr sz="769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 marL="0" marR="0" lvl="0" indent="0" algn="r" defTabSz="10718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7F97CCB3-411A-4FDA-BB0C-205D6F511244}" type="slidenum">
              <a:rPr kumimoji="0" lang="en-US" sz="1365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‹#›</a:t>
            </a:fld>
            <a:endParaRPr kumimoji="0" lang="en-US" sz="1365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Date Placeholder 3"/>
          <p:cNvSpPr txBox="1">
            <a:spLocks/>
          </p:cNvSpPr>
          <p:nvPr/>
        </p:nvSpPr>
        <p:spPr>
          <a:xfrm>
            <a:off x="457261" y="6395942"/>
            <a:ext cx="2133879" cy="356622"/>
          </a:xfrm>
          <a:prstGeom prst="rect">
            <a:avLst/>
          </a:prstGeom>
        </p:spPr>
        <p:txBody>
          <a:bodyPr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 marL="0" marR="0" lvl="0" indent="0" algn="l" defTabSz="6030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8D6F17-2070-41D8-BCA7-830B761AA729}" type="datetime1">
              <a:rPr kumimoji="0" lang="en-US" sz="659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6030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/5/2025</a:t>
            </a:fld>
            <a:endParaRPr kumimoji="0" lang="en-US" sz="659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6554055" y="6395942"/>
            <a:ext cx="2133879" cy="356622"/>
          </a:xfrm>
          <a:prstGeom prst="rect">
            <a:avLst/>
          </a:prstGeom>
        </p:spPr>
        <p:txBody>
          <a:bodyPr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 marL="0" marR="0" lvl="0" indent="0" algn="r" defTabSz="6030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7362A5D-0CB0-4B43-8107-A9CA093AFB09}" type="slidenum">
              <a:rPr kumimoji="0" lang="en-US" sz="659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6030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59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2" y="6468817"/>
            <a:ext cx="12190412" cy="210872"/>
          </a:xfrm>
          <a:prstGeom prst="rect">
            <a:avLst/>
          </a:prstGeom>
          <a:solidFill>
            <a:srgbClr val="FFBB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030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989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Date Placeholder 3"/>
          <p:cNvSpPr txBox="1">
            <a:spLocks/>
          </p:cNvSpPr>
          <p:nvPr/>
        </p:nvSpPr>
        <p:spPr>
          <a:xfrm>
            <a:off x="457261" y="6395942"/>
            <a:ext cx="2133879" cy="356622"/>
          </a:xfrm>
          <a:prstGeom prst="rect">
            <a:avLst/>
          </a:prstGeom>
        </p:spPr>
        <p:txBody>
          <a:bodyPr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6030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59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ww.kolkata.apollohospitals.com</a:t>
            </a:r>
          </a:p>
        </p:txBody>
      </p:sp>
      <p:sp>
        <p:nvSpPr>
          <p:cNvPr id="12" name="Rektangel 13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 rot="16200000">
            <a:off x="42133" y="6395638"/>
            <a:ext cx="269792" cy="357235"/>
          </a:xfrm>
          <a:prstGeom prst="rect">
            <a:avLst/>
          </a:prstGeom>
          <a:solidFill>
            <a:srgbClr val="2582A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030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98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Rectangle 14"/>
          <p:cNvSpPr/>
          <p:nvPr/>
        </p:nvSpPr>
        <p:spPr bwMode="auto">
          <a:xfrm>
            <a:off x="95264" y="1551"/>
            <a:ext cx="12096739" cy="175210"/>
          </a:xfrm>
          <a:prstGeom prst="rect">
            <a:avLst/>
          </a:prstGeom>
          <a:solidFill>
            <a:srgbClr val="2582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030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989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Rectangle 15"/>
          <p:cNvSpPr/>
          <p:nvPr/>
        </p:nvSpPr>
        <p:spPr bwMode="auto">
          <a:xfrm>
            <a:off x="0" y="1551"/>
            <a:ext cx="2743557" cy="175210"/>
          </a:xfrm>
          <a:prstGeom prst="rect">
            <a:avLst/>
          </a:prstGeom>
          <a:solidFill>
            <a:srgbClr val="FFBF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030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989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362305" y="6454088"/>
            <a:ext cx="11834767" cy="24033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900" dirty="0">
              <a:solidFill>
                <a:schemeClr val="tx1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17"/>
          <a:srcRect t="15123" b="6378"/>
          <a:stretch/>
        </p:blipFill>
        <p:spPr>
          <a:xfrm>
            <a:off x="254217" y="239441"/>
            <a:ext cx="11632947" cy="11139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7656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92" r:id="rId2"/>
    <p:sldLayoutId id="2147483793" r:id="rId3"/>
    <p:sldLayoutId id="2147483794" r:id="rId4"/>
    <p:sldLayoutId id="2147483795" r:id="rId5"/>
    <p:sldLayoutId id="2147483796" r:id="rId6"/>
    <p:sldLayoutId id="2147483797" r:id="rId7"/>
    <p:sldLayoutId id="2147483798" r:id="rId8"/>
    <p:sldLayoutId id="2147483799" r:id="rId9"/>
    <p:sldLayoutId id="2147483800" r:id="rId10"/>
    <p:sldLayoutId id="2147483801" r:id="rId11"/>
    <p:sldLayoutId id="2147483802" r:id="rId12"/>
    <p:sldLayoutId id="2147483803" r:id="rId13"/>
    <p:sldLayoutId id="2147483804" r:id="rId14"/>
  </p:sldLayoutIdLst>
  <p:txStyles>
    <p:titleStyle>
      <a:lvl1pPr algn="l" defTabSz="602665" rtl="0" eaLnBrk="1" fontAlgn="base" hangingPunct="1">
        <a:spcBef>
          <a:spcPct val="0"/>
        </a:spcBef>
        <a:spcAft>
          <a:spcPct val="0"/>
        </a:spcAft>
        <a:defRPr sz="2025" b="1" kern="1200">
          <a:solidFill>
            <a:schemeClr val="accent1">
              <a:lumMod val="75000"/>
            </a:schemeClr>
          </a:solidFill>
          <a:latin typeface="Arial Black" panose="020B0A04020102020204" pitchFamily="34" charset="0"/>
          <a:ea typeface="+mj-ea"/>
          <a:cs typeface="+mj-cs"/>
        </a:defRPr>
      </a:lvl1pPr>
      <a:lvl2pPr algn="ctr" defTabSz="602665" rtl="0" eaLnBrk="1" fontAlgn="base" hangingPunct="1">
        <a:spcBef>
          <a:spcPct val="0"/>
        </a:spcBef>
        <a:spcAft>
          <a:spcPct val="0"/>
        </a:spcAft>
        <a:defRPr sz="2912">
          <a:solidFill>
            <a:schemeClr val="tx1"/>
          </a:solidFill>
          <a:latin typeface="Calibri" pitchFamily="34" charset="0"/>
        </a:defRPr>
      </a:lvl2pPr>
      <a:lvl3pPr algn="ctr" defTabSz="602665" rtl="0" eaLnBrk="1" fontAlgn="base" hangingPunct="1">
        <a:spcBef>
          <a:spcPct val="0"/>
        </a:spcBef>
        <a:spcAft>
          <a:spcPct val="0"/>
        </a:spcAft>
        <a:defRPr sz="2912">
          <a:solidFill>
            <a:schemeClr val="tx1"/>
          </a:solidFill>
          <a:latin typeface="Calibri" pitchFamily="34" charset="0"/>
        </a:defRPr>
      </a:lvl3pPr>
      <a:lvl4pPr algn="ctr" defTabSz="602665" rtl="0" eaLnBrk="1" fontAlgn="base" hangingPunct="1">
        <a:spcBef>
          <a:spcPct val="0"/>
        </a:spcBef>
        <a:spcAft>
          <a:spcPct val="0"/>
        </a:spcAft>
        <a:defRPr sz="2912">
          <a:solidFill>
            <a:schemeClr val="tx1"/>
          </a:solidFill>
          <a:latin typeface="Calibri" pitchFamily="34" charset="0"/>
        </a:defRPr>
      </a:lvl4pPr>
      <a:lvl5pPr algn="ctr" defTabSz="602665" rtl="0" eaLnBrk="1" fontAlgn="base" hangingPunct="1">
        <a:spcBef>
          <a:spcPct val="0"/>
        </a:spcBef>
        <a:spcAft>
          <a:spcPct val="0"/>
        </a:spcAft>
        <a:defRPr sz="2912">
          <a:solidFill>
            <a:schemeClr val="tx1"/>
          </a:solidFill>
          <a:latin typeface="Calibri" pitchFamily="34" charset="0"/>
        </a:defRPr>
      </a:lvl5pPr>
      <a:lvl6pPr marL="251183" algn="ctr" defTabSz="602665" rtl="0" eaLnBrk="1" fontAlgn="base" hangingPunct="1">
        <a:spcBef>
          <a:spcPct val="0"/>
        </a:spcBef>
        <a:spcAft>
          <a:spcPct val="0"/>
        </a:spcAft>
        <a:defRPr sz="2912">
          <a:solidFill>
            <a:schemeClr val="tx1"/>
          </a:solidFill>
          <a:latin typeface="Calibri" pitchFamily="34" charset="0"/>
        </a:defRPr>
      </a:lvl6pPr>
      <a:lvl7pPr marL="502366" algn="ctr" defTabSz="602665" rtl="0" eaLnBrk="1" fontAlgn="base" hangingPunct="1">
        <a:spcBef>
          <a:spcPct val="0"/>
        </a:spcBef>
        <a:spcAft>
          <a:spcPct val="0"/>
        </a:spcAft>
        <a:defRPr sz="2912">
          <a:solidFill>
            <a:schemeClr val="tx1"/>
          </a:solidFill>
          <a:latin typeface="Calibri" pitchFamily="34" charset="0"/>
        </a:defRPr>
      </a:lvl7pPr>
      <a:lvl8pPr marL="753549" algn="ctr" defTabSz="602665" rtl="0" eaLnBrk="1" fontAlgn="base" hangingPunct="1">
        <a:spcBef>
          <a:spcPct val="0"/>
        </a:spcBef>
        <a:spcAft>
          <a:spcPct val="0"/>
        </a:spcAft>
        <a:defRPr sz="2912">
          <a:solidFill>
            <a:schemeClr val="tx1"/>
          </a:solidFill>
          <a:latin typeface="Calibri" pitchFamily="34" charset="0"/>
        </a:defRPr>
      </a:lvl8pPr>
      <a:lvl9pPr marL="1004732" algn="ctr" defTabSz="602665" rtl="0" eaLnBrk="1" fontAlgn="base" hangingPunct="1">
        <a:spcBef>
          <a:spcPct val="0"/>
        </a:spcBef>
        <a:spcAft>
          <a:spcPct val="0"/>
        </a:spcAft>
        <a:defRPr sz="2912">
          <a:solidFill>
            <a:schemeClr val="tx1"/>
          </a:solidFill>
          <a:latin typeface="Calibri" pitchFamily="34" charset="0"/>
        </a:defRPr>
      </a:lvl9pPr>
    </p:titleStyle>
    <p:bodyStyle>
      <a:lvl1pPr marL="225890" indent="-225890" algn="l" defTabSz="602665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087" kern="1200">
          <a:solidFill>
            <a:schemeClr val="tx1"/>
          </a:solidFill>
          <a:latin typeface="+mn-lt"/>
          <a:ea typeface="+mn-ea"/>
          <a:cs typeface="+mn-cs"/>
        </a:defRPr>
      </a:lvl1pPr>
      <a:lvl2pPr marL="489284" indent="-188387" algn="l" defTabSz="602665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868" kern="1200">
          <a:solidFill>
            <a:schemeClr val="tx1"/>
          </a:solidFill>
          <a:latin typeface="+mn-lt"/>
          <a:ea typeface="+mn-ea"/>
          <a:cs typeface="+mn-cs"/>
        </a:defRPr>
      </a:lvl2pPr>
      <a:lvl3pPr marL="753549" indent="-150012" algn="l" defTabSz="602665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593" kern="1200">
          <a:solidFill>
            <a:schemeClr val="tx1"/>
          </a:solidFill>
          <a:latin typeface="+mn-lt"/>
          <a:ea typeface="+mn-ea"/>
          <a:cs typeface="+mn-cs"/>
        </a:defRPr>
      </a:lvl3pPr>
      <a:lvl4pPr marL="1055317" indent="-150012" algn="l" defTabSz="602665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319" kern="1200">
          <a:solidFill>
            <a:schemeClr val="tx1"/>
          </a:solidFill>
          <a:latin typeface="+mn-lt"/>
          <a:ea typeface="+mn-ea"/>
          <a:cs typeface="+mn-cs"/>
        </a:defRPr>
      </a:lvl4pPr>
      <a:lvl5pPr marL="1356213" indent="-150012" algn="l" defTabSz="602665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319" kern="1200">
          <a:solidFill>
            <a:schemeClr val="tx1"/>
          </a:solidFill>
          <a:latin typeface="+mn-lt"/>
          <a:ea typeface="+mn-ea"/>
          <a:cs typeface="+mn-cs"/>
        </a:defRPr>
      </a:lvl5pPr>
      <a:lvl6pPr marL="1658497" indent="-150773" algn="l" defTabSz="603090" rtl="0" eaLnBrk="1" latinLnBrk="0" hangingPunct="1">
        <a:spcBef>
          <a:spcPct val="20000"/>
        </a:spcBef>
        <a:buFont typeface="Arial" pitchFamily="34" charset="0"/>
        <a:buChar char="•"/>
        <a:defRPr sz="1319" kern="1200">
          <a:solidFill>
            <a:schemeClr val="tx1"/>
          </a:solidFill>
          <a:latin typeface="+mn-lt"/>
          <a:ea typeface="+mn-ea"/>
          <a:cs typeface="+mn-cs"/>
        </a:defRPr>
      </a:lvl6pPr>
      <a:lvl7pPr marL="1960043" indent="-150773" algn="l" defTabSz="603090" rtl="0" eaLnBrk="1" latinLnBrk="0" hangingPunct="1">
        <a:spcBef>
          <a:spcPct val="20000"/>
        </a:spcBef>
        <a:buFont typeface="Arial" pitchFamily="34" charset="0"/>
        <a:buChar char="•"/>
        <a:defRPr sz="1319" kern="1200">
          <a:solidFill>
            <a:schemeClr val="tx1"/>
          </a:solidFill>
          <a:latin typeface="+mn-lt"/>
          <a:ea typeface="+mn-ea"/>
          <a:cs typeface="+mn-cs"/>
        </a:defRPr>
      </a:lvl7pPr>
      <a:lvl8pPr marL="2261588" indent="-150773" algn="l" defTabSz="603090" rtl="0" eaLnBrk="1" latinLnBrk="0" hangingPunct="1">
        <a:spcBef>
          <a:spcPct val="20000"/>
        </a:spcBef>
        <a:buFont typeface="Arial" pitchFamily="34" charset="0"/>
        <a:buChar char="•"/>
        <a:defRPr sz="1319" kern="1200">
          <a:solidFill>
            <a:schemeClr val="tx1"/>
          </a:solidFill>
          <a:latin typeface="+mn-lt"/>
          <a:ea typeface="+mn-ea"/>
          <a:cs typeface="+mn-cs"/>
        </a:defRPr>
      </a:lvl8pPr>
      <a:lvl9pPr marL="2563133" indent="-150773" algn="l" defTabSz="603090" rtl="0" eaLnBrk="1" latinLnBrk="0" hangingPunct="1">
        <a:spcBef>
          <a:spcPct val="20000"/>
        </a:spcBef>
        <a:buFont typeface="Arial" pitchFamily="34" charset="0"/>
        <a:buChar char="•"/>
        <a:defRPr sz="131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3090" rtl="0" eaLnBrk="1" latinLnBrk="0" hangingPunct="1">
        <a:defRPr sz="1209" kern="1200">
          <a:solidFill>
            <a:schemeClr val="tx1"/>
          </a:solidFill>
          <a:latin typeface="+mn-lt"/>
          <a:ea typeface="+mn-ea"/>
          <a:cs typeface="+mn-cs"/>
        </a:defRPr>
      </a:lvl1pPr>
      <a:lvl2pPr marL="301545" algn="l" defTabSz="603090" rtl="0" eaLnBrk="1" latinLnBrk="0" hangingPunct="1">
        <a:defRPr sz="1209" kern="1200">
          <a:solidFill>
            <a:schemeClr val="tx1"/>
          </a:solidFill>
          <a:latin typeface="+mn-lt"/>
          <a:ea typeface="+mn-ea"/>
          <a:cs typeface="+mn-cs"/>
        </a:defRPr>
      </a:lvl2pPr>
      <a:lvl3pPr marL="603090" algn="l" defTabSz="603090" rtl="0" eaLnBrk="1" latinLnBrk="0" hangingPunct="1">
        <a:defRPr sz="1209" kern="1200">
          <a:solidFill>
            <a:schemeClr val="tx1"/>
          </a:solidFill>
          <a:latin typeface="+mn-lt"/>
          <a:ea typeface="+mn-ea"/>
          <a:cs typeface="+mn-cs"/>
        </a:defRPr>
      </a:lvl3pPr>
      <a:lvl4pPr marL="904635" algn="l" defTabSz="603090" rtl="0" eaLnBrk="1" latinLnBrk="0" hangingPunct="1">
        <a:defRPr sz="1209" kern="1200">
          <a:solidFill>
            <a:schemeClr val="tx1"/>
          </a:solidFill>
          <a:latin typeface="+mn-lt"/>
          <a:ea typeface="+mn-ea"/>
          <a:cs typeface="+mn-cs"/>
        </a:defRPr>
      </a:lvl4pPr>
      <a:lvl5pPr marL="1206179" algn="l" defTabSz="603090" rtl="0" eaLnBrk="1" latinLnBrk="0" hangingPunct="1">
        <a:defRPr sz="1209" kern="1200">
          <a:solidFill>
            <a:schemeClr val="tx1"/>
          </a:solidFill>
          <a:latin typeface="+mn-lt"/>
          <a:ea typeface="+mn-ea"/>
          <a:cs typeface="+mn-cs"/>
        </a:defRPr>
      </a:lvl5pPr>
      <a:lvl6pPr marL="1507725" algn="l" defTabSz="603090" rtl="0" eaLnBrk="1" latinLnBrk="0" hangingPunct="1">
        <a:defRPr sz="1209" kern="1200">
          <a:solidFill>
            <a:schemeClr val="tx1"/>
          </a:solidFill>
          <a:latin typeface="+mn-lt"/>
          <a:ea typeface="+mn-ea"/>
          <a:cs typeface="+mn-cs"/>
        </a:defRPr>
      </a:lvl6pPr>
      <a:lvl7pPr marL="1809270" algn="l" defTabSz="603090" rtl="0" eaLnBrk="1" latinLnBrk="0" hangingPunct="1">
        <a:defRPr sz="1209" kern="1200">
          <a:solidFill>
            <a:schemeClr val="tx1"/>
          </a:solidFill>
          <a:latin typeface="+mn-lt"/>
          <a:ea typeface="+mn-ea"/>
          <a:cs typeface="+mn-cs"/>
        </a:defRPr>
      </a:lvl7pPr>
      <a:lvl8pPr marL="2110815" algn="l" defTabSz="603090" rtl="0" eaLnBrk="1" latinLnBrk="0" hangingPunct="1">
        <a:defRPr sz="1209" kern="1200">
          <a:solidFill>
            <a:schemeClr val="tx1"/>
          </a:solidFill>
          <a:latin typeface="+mn-lt"/>
          <a:ea typeface="+mn-ea"/>
          <a:cs typeface="+mn-cs"/>
        </a:defRPr>
      </a:lvl8pPr>
      <a:lvl9pPr marL="2412360" algn="l" defTabSz="603090" rtl="0" eaLnBrk="1" latinLnBrk="0" hangingPunct="1">
        <a:defRPr sz="120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47155" y="1582994"/>
            <a:ext cx="10553252" cy="748999"/>
          </a:xfrm>
        </p:spPr>
        <p:txBody>
          <a:bodyPr>
            <a:noAutofit/>
          </a:bodyPr>
          <a:lstStyle/>
          <a:p>
            <a:pPr algn="ctr"/>
            <a:r>
              <a:rPr lang="en-US" sz="4400" b="1" dirty="0">
                <a:solidFill>
                  <a:schemeClr val="tx2">
                    <a:lumMod val="50000"/>
                  </a:schemeClr>
                </a:solidFill>
                <a:latin typeface="+mn-lt"/>
              </a:rPr>
              <a:t>SAFE-A-THON</a:t>
            </a:r>
            <a:endParaRPr lang="en-IN" sz="4400" b="1" dirty="0">
              <a:solidFill>
                <a:schemeClr val="tx2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6CE26E8-B27B-4375-A99D-A8DCDFF0C37E}"/>
              </a:ext>
            </a:extLst>
          </p:cNvPr>
          <p:cNvSpPr txBox="1"/>
          <p:nvPr/>
        </p:nvSpPr>
        <p:spPr>
          <a:xfrm>
            <a:off x="1055859" y="2725524"/>
            <a:ext cx="7792865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tx2">
                    <a:lumMod val="50000"/>
                  </a:schemeClr>
                </a:solidFill>
              </a:rPr>
              <a:t>Slide 1 — Innovation Title + Problem Tagline</a:t>
            </a:r>
          </a:p>
          <a:p>
            <a:r>
              <a:rPr lang="en-US" b="1" dirty="0">
                <a:solidFill>
                  <a:schemeClr val="tx2">
                    <a:lumMod val="50000"/>
                  </a:schemeClr>
                </a:solidFill>
              </a:rPr>
              <a:t>Title:</a:t>
            </a:r>
            <a:endParaRPr lang="en-US" dirty="0">
              <a:solidFill>
                <a:schemeClr val="tx2">
                  <a:lumMod val="50000"/>
                </a:schemeClr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 i="1" dirty="0">
                <a:solidFill>
                  <a:schemeClr val="tx2">
                    <a:lumMod val="50000"/>
                  </a:schemeClr>
                </a:solidFill>
              </a:rPr>
              <a:t>Project / Innovation Brand Name</a:t>
            </a:r>
            <a:endParaRPr lang="en-US" dirty="0">
              <a:solidFill>
                <a:schemeClr val="tx2">
                  <a:lumMod val="50000"/>
                </a:schemeClr>
              </a:solidFill>
            </a:endParaRPr>
          </a:p>
          <a:p>
            <a:r>
              <a:rPr lang="en-US" b="1" dirty="0">
                <a:solidFill>
                  <a:schemeClr val="tx2">
                    <a:lumMod val="50000"/>
                  </a:schemeClr>
                </a:solidFill>
              </a:rPr>
              <a:t>Content:</a:t>
            </a:r>
            <a:endParaRPr lang="en-US" dirty="0">
              <a:solidFill>
                <a:schemeClr val="tx2">
                  <a:lumMod val="50000"/>
                </a:schemeClr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Team Name | Hospital | City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Team Member Roles I </a:t>
            </a:r>
            <a:r>
              <a:rPr lang="en-IN" dirty="0">
                <a:solidFill>
                  <a:schemeClr val="tx2">
                    <a:lumMod val="50000"/>
                  </a:schemeClr>
                </a:solidFill>
                <a:ea typeface="Times New Roman" panose="02020603050405020304" pitchFamily="18" charset="0"/>
              </a:rPr>
              <a:t>Contact Email I Phone Number</a:t>
            </a:r>
            <a:endParaRPr lang="en-IN" dirty="0">
              <a:solidFill>
                <a:schemeClr val="tx2">
                  <a:lumMod val="50000"/>
                </a:schemeClr>
              </a:solidFill>
              <a:effectLst/>
              <a:ea typeface="Times New Roman" panose="02020603050405020304" pitchFamily="18" charset="0"/>
            </a:endParaRPr>
          </a:p>
          <a:p>
            <a:endParaRPr lang="en-US" dirty="0">
              <a:solidFill>
                <a:schemeClr val="tx2">
                  <a:lumMod val="50000"/>
                </a:schemeClr>
              </a:solidFill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95B02205-44A6-4D76-A0A3-4272F3B42AB8}"/>
              </a:ext>
            </a:extLst>
          </p:cNvPr>
          <p:cNvSpPr txBox="1"/>
          <p:nvPr/>
        </p:nvSpPr>
        <p:spPr>
          <a:xfrm>
            <a:off x="1126331" y="2031564"/>
            <a:ext cx="6100762" cy="25853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tx2">
                    <a:lumMod val="50000"/>
                  </a:schemeClr>
                </a:solidFill>
              </a:rPr>
              <a:t>Slide 10 — Vision: The Future With Your Solution</a:t>
            </a:r>
          </a:p>
          <a:p>
            <a:r>
              <a:rPr lang="en-US" b="1" dirty="0">
                <a:solidFill>
                  <a:schemeClr val="tx2">
                    <a:lumMod val="50000"/>
                  </a:schemeClr>
                </a:solidFill>
              </a:rPr>
              <a:t>Title:</a:t>
            </a:r>
            <a:endParaRPr lang="en-US" dirty="0">
              <a:solidFill>
                <a:schemeClr val="tx2">
                  <a:lumMod val="50000"/>
                </a:schemeClr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 i="1" dirty="0">
                <a:solidFill>
                  <a:schemeClr val="tx2">
                    <a:lumMod val="50000"/>
                  </a:schemeClr>
                </a:solidFill>
              </a:rPr>
              <a:t>How Your Idea Can Change Healthcare Safety Forever</a:t>
            </a:r>
            <a:endParaRPr lang="en-US" dirty="0">
              <a:solidFill>
                <a:schemeClr val="tx2">
                  <a:lumMod val="50000"/>
                </a:schemeClr>
              </a:solidFill>
            </a:endParaRPr>
          </a:p>
          <a:p>
            <a:r>
              <a:rPr lang="en-US" b="1" dirty="0">
                <a:solidFill>
                  <a:schemeClr val="tx2">
                    <a:lumMod val="50000"/>
                  </a:schemeClr>
                </a:solidFill>
              </a:rPr>
              <a:t>Content:</a:t>
            </a:r>
            <a:endParaRPr lang="en-US" dirty="0">
              <a:solidFill>
                <a:schemeClr val="tx2">
                  <a:lumMod val="50000"/>
                </a:schemeClr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One bold vision statement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Potential for patent/IP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Scalability across Apollo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Potential national/global reach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Clear ask: </a:t>
            </a:r>
            <a:r>
              <a:rPr lang="en-US" i="1" dirty="0">
                <a:solidFill>
                  <a:schemeClr val="tx2">
                    <a:lumMod val="50000"/>
                  </a:schemeClr>
                </a:solidFill>
              </a:rPr>
              <a:t>“Support us to take Version 2.0 forward”</a:t>
            </a:r>
            <a:endParaRPr lang="en-US" dirty="0">
              <a:solidFill>
                <a:schemeClr val="tx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230090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C2B7D087-9D77-4206-A8E2-91DD7B6138C4}"/>
              </a:ext>
            </a:extLst>
          </p:cNvPr>
          <p:cNvSpPr txBox="1"/>
          <p:nvPr/>
        </p:nvSpPr>
        <p:spPr>
          <a:xfrm>
            <a:off x="1119073" y="2027188"/>
            <a:ext cx="7939201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tx2">
                    <a:lumMod val="50000"/>
                  </a:schemeClr>
                </a:solidFill>
              </a:rPr>
              <a:t>Slide 2 — The Real-World Problem (The Pain Point)</a:t>
            </a:r>
          </a:p>
          <a:p>
            <a:r>
              <a:rPr lang="en-US" b="1" dirty="0">
                <a:solidFill>
                  <a:schemeClr val="tx2">
                    <a:lumMod val="50000"/>
                  </a:schemeClr>
                </a:solidFill>
              </a:rPr>
              <a:t>Title:</a:t>
            </a:r>
            <a:endParaRPr lang="en-US" dirty="0">
              <a:solidFill>
                <a:schemeClr val="tx2">
                  <a:lumMod val="50000"/>
                </a:schemeClr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 i="1" dirty="0">
                <a:solidFill>
                  <a:schemeClr val="tx2">
                    <a:lumMod val="50000"/>
                  </a:schemeClr>
                </a:solidFill>
              </a:rPr>
              <a:t>What Critical Pain Are You Solving?</a:t>
            </a:r>
            <a:endParaRPr lang="en-US" dirty="0">
              <a:solidFill>
                <a:schemeClr val="tx2">
                  <a:lumMod val="50000"/>
                </a:schemeClr>
              </a:solidFill>
            </a:endParaRPr>
          </a:p>
          <a:p>
            <a:r>
              <a:rPr lang="en-US" b="1" dirty="0">
                <a:solidFill>
                  <a:schemeClr val="tx2">
                    <a:lumMod val="50000"/>
                  </a:schemeClr>
                </a:solidFill>
              </a:rPr>
              <a:t>Content:</a:t>
            </a:r>
            <a:endParaRPr lang="en-US" dirty="0">
              <a:solidFill>
                <a:schemeClr val="tx2">
                  <a:lumMod val="50000"/>
                </a:schemeClr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Describe the gap like a </a:t>
            </a:r>
            <a:r>
              <a:rPr lang="en-US" b="1" dirty="0">
                <a:solidFill>
                  <a:schemeClr val="tx2">
                    <a:lumMod val="50000"/>
                  </a:schemeClr>
                </a:solidFill>
              </a:rPr>
              <a:t>startup pitch</a:t>
            </a:r>
            <a:endParaRPr lang="en-US" dirty="0">
              <a:solidFill>
                <a:schemeClr val="tx2">
                  <a:lumMod val="50000"/>
                </a:schemeClr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Size the problem: frequency, cost, risk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Who suffers: patients, caregivers, clinician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Why this problem is worth solving </a:t>
            </a:r>
            <a:r>
              <a:rPr lang="en-US" b="1" dirty="0">
                <a:solidFill>
                  <a:schemeClr val="tx2">
                    <a:lumMod val="50000"/>
                  </a:schemeClr>
                </a:solidFill>
              </a:rPr>
              <a:t>now</a:t>
            </a:r>
            <a:endParaRPr lang="en-US" dirty="0">
              <a:solidFill>
                <a:schemeClr val="tx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024208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479FCB7B-CE37-4C51-BE1A-E960A748153D}"/>
              </a:ext>
            </a:extLst>
          </p:cNvPr>
          <p:cNvSpPr txBox="1"/>
          <p:nvPr/>
        </p:nvSpPr>
        <p:spPr>
          <a:xfrm>
            <a:off x="1022398" y="1947347"/>
            <a:ext cx="6100762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tx2">
                    <a:lumMod val="50000"/>
                  </a:schemeClr>
                </a:solidFill>
              </a:rPr>
              <a:t>Slide 3 — Market Opportunity in Healthcare</a:t>
            </a:r>
          </a:p>
          <a:p>
            <a:r>
              <a:rPr lang="en-US" b="1" dirty="0">
                <a:solidFill>
                  <a:schemeClr val="tx2">
                    <a:lumMod val="50000"/>
                  </a:schemeClr>
                </a:solidFill>
              </a:rPr>
              <a:t>Title:</a:t>
            </a:r>
            <a:endParaRPr lang="en-US" dirty="0">
              <a:solidFill>
                <a:schemeClr val="tx2">
                  <a:lumMod val="50000"/>
                </a:schemeClr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 i="1" dirty="0">
                <a:solidFill>
                  <a:schemeClr val="tx2">
                    <a:lumMod val="50000"/>
                  </a:schemeClr>
                </a:solidFill>
              </a:rPr>
              <a:t>Why This Problem Has a Scalable Future?</a:t>
            </a:r>
            <a:endParaRPr lang="en-US" dirty="0">
              <a:solidFill>
                <a:schemeClr val="tx2">
                  <a:lumMod val="50000"/>
                </a:schemeClr>
              </a:solidFill>
            </a:endParaRPr>
          </a:p>
          <a:p>
            <a:r>
              <a:rPr lang="en-US" b="1" dirty="0">
                <a:solidFill>
                  <a:schemeClr val="tx2">
                    <a:lumMod val="50000"/>
                  </a:schemeClr>
                </a:solidFill>
              </a:rPr>
              <a:t>Content:</a:t>
            </a:r>
            <a:endParaRPr lang="en-US" dirty="0">
              <a:solidFill>
                <a:schemeClr val="tx2">
                  <a:lumMod val="50000"/>
                </a:schemeClr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How many hospitals face this problem (India + global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Existing solutions: why they fail / where the gap i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Potential serviceable market siz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Opportunity for digital/automation/AI relevance</a:t>
            </a:r>
          </a:p>
        </p:txBody>
      </p:sp>
    </p:spTree>
    <p:extLst>
      <p:ext uri="{BB962C8B-B14F-4D97-AF65-F5344CB8AC3E}">
        <p14:creationId xmlns:p14="http://schemas.microsoft.com/office/powerpoint/2010/main" val="294652797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D1824B2B-57CD-4761-AE8E-728CA4E9C1E1}"/>
              </a:ext>
            </a:extLst>
          </p:cNvPr>
          <p:cNvSpPr txBox="1"/>
          <p:nvPr/>
        </p:nvSpPr>
        <p:spPr>
          <a:xfrm>
            <a:off x="1069181" y="1955364"/>
            <a:ext cx="6100762" cy="25853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tx2">
                    <a:lumMod val="50000"/>
                  </a:schemeClr>
                </a:solidFill>
              </a:rPr>
              <a:t>Slide 4 — Baseline Insights &amp; User Research</a:t>
            </a:r>
          </a:p>
          <a:p>
            <a:r>
              <a:rPr lang="en-US" b="1" dirty="0">
                <a:solidFill>
                  <a:schemeClr val="tx2">
                    <a:lumMod val="50000"/>
                  </a:schemeClr>
                </a:solidFill>
              </a:rPr>
              <a:t>Title:</a:t>
            </a:r>
            <a:endParaRPr lang="en-US" dirty="0">
              <a:solidFill>
                <a:schemeClr val="tx2">
                  <a:lumMod val="50000"/>
                </a:schemeClr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 i="1" dirty="0">
                <a:solidFill>
                  <a:schemeClr val="tx2">
                    <a:lumMod val="50000"/>
                  </a:schemeClr>
                </a:solidFill>
              </a:rPr>
              <a:t>How Did You Validate the Problem?</a:t>
            </a:r>
            <a:endParaRPr lang="en-US" dirty="0">
              <a:solidFill>
                <a:schemeClr val="tx2">
                  <a:lumMod val="50000"/>
                </a:schemeClr>
              </a:solidFill>
            </a:endParaRPr>
          </a:p>
          <a:p>
            <a:r>
              <a:rPr lang="en-US" b="1" dirty="0">
                <a:solidFill>
                  <a:schemeClr val="tx2">
                    <a:lumMod val="50000"/>
                  </a:schemeClr>
                </a:solidFill>
              </a:rPr>
              <a:t>Content:</a:t>
            </a:r>
            <a:endParaRPr lang="en-US" dirty="0">
              <a:solidFill>
                <a:schemeClr val="tx2">
                  <a:lumMod val="50000"/>
                </a:schemeClr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Staff interview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Patient experience quote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Mini-survey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Snapshot data from your unit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Hidden workflow issues</a:t>
            </a:r>
          </a:p>
        </p:txBody>
      </p:sp>
    </p:spTree>
    <p:extLst>
      <p:ext uri="{BB962C8B-B14F-4D97-AF65-F5344CB8AC3E}">
        <p14:creationId xmlns:p14="http://schemas.microsoft.com/office/powerpoint/2010/main" val="5186630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5F110E7C-F2B0-45CB-B0CE-CF67D80C054C}"/>
              </a:ext>
            </a:extLst>
          </p:cNvPr>
          <p:cNvSpPr txBox="1"/>
          <p:nvPr/>
        </p:nvSpPr>
        <p:spPr>
          <a:xfrm>
            <a:off x="862013" y="1962150"/>
            <a:ext cx="6100762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tx2">
                    <a:lumMod val="50000"/>
                  </a:schemeClr>
                </a:solidFill>
              </a:rPr>
              <a:t>Slide 5 — Your Innovative Solution (The Big Idea)</a:t>
            </a:r>
          </a:p>
          <a:p>
            <a:r>
              <a:rPr lang="en-US" b="1" dirty="0">
                <a:solidFill>
                  <a:schemeClr val="tx2">
                    <a:lumMod val="50000"/>
                  </a:schemeClr>
                </a:solidFill>
              </a:rPr>
              <a:t>Title:</a:t>
            </a:r>
            <a:endParaRPr lang="en-US" dirty="0">
              <a:solidFill>
                <a:schemeClr val="tx2">
                  <a:lumMod val="50000"/>
                </a:schemeClr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 i="1" dirty="0">
                <a:solidFill>
                  <a:schemeClr val="tx2">
                    <a:lumMod val="50000"/>
                  </a:schemeClr>
                </a:solidFill>
              </a:rPr>
              <a:t>What Are You Building?</a:t>
            </a:r>
            <a:endParaRPr lang="en-US" dirty="0">
              <a:solidFill>
                <a:schemeClr val="tx2">
                  <a:lumMod val="50000"/>
                </a:schemeClr>
              </a:solidFill>
            </a:endParaRPr>
          </a:p>
          <a:p>
            <a:r>
              <a:rPr lang="en-US" b="1" dirty="0">
                <a:solidFill>
                  <a:schemeClr val="tx2">
                    <a:lumMod val="50000"/>
                  </a:schemeClr>
                </a:solidFill>
              </a:rPr>
              <a:t>Content:</a:t>
            </a:r>
            <a:endParaRPr lang="en-US" dirty="0">
              <a:solidFill>
                <a:schemeClr val="tx2">
                  <a:lumMod val="50000"/>
                </a:schemeClr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Crisp explanation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Visual mock-up / diagram / workflow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How it solves root cause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Why it’s better than current practice</a:t>
            </a:r>
          </a:p>
        </p:txBody>
      </p:sp>
    </p:spTree>
    <p:extLst>
      <p:ext uri="{BB962C8B-B14F-4D97-AF65-F5344CB8AC3E}">
        <p14:creationId xmlns:p14="http://schemas.microsoft.com/office/powerpoint/2010/main" val="288207140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1DECD589-2DE0-46B7-9BA5-77714F27F65D}"/>
              </a:ext>
            </a:extLst>
          </p:cNvPr>
          <p:cNvSpPr txBox="1"/>
          <p:nvPr/>
        </p:nvSpPr>
        <p:spPr>
          <a:xfrm>
            <a:off x="1135856" y="2136338"/>
            <a:ext cx="6100762" cy="25853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tx2">
                    <a:lumMod val="50000"/>
                  </a:schemeClr>
                </a:solidFill>
              </a:rPr>
              <a:t>Slide 6 — Prototype, Pilot &amp; Tech Approach</a:t>
            </a:r>
          </a:p>
          <a:p>
            <a:r>
              <a:rPr lang="en-US" b="1" dirty="0">
                <a:solidFill>
                  <a:schemeClr val="tx2">
                    <a:lumMod val="50000"/>
                  </a:schemeClr>
                </a:solidFill>
              </a:rPr>
              <a:t>Title:</a:t>
            </a:r>
            <a:endParaRPr lang="en-US" dirty="0">
              <a:solidFill>
                <a:schemeClr val="tx2">
                  <a:lumMod val="50000"/>
                </a:schemeClr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 i="1" dirty="0">
                <a:solidFill>
                  <a:schemeClr val="tx2">
                    <a:lumMod val="50000"/>
                  </a:schemeClr>
                </a:solidFill>
              </a:rPr>
              <a:t>Show Your Version 1.0</a:t>
            </a:r>
            <a:endParaRPr lang="en-US" dirty="0">
              <a:solidFill>
                <a:schemeClr val="tx2">
                  <a:lumMod val="50000"/>
                </a:schemeClr>
              </a:solidFill>
            </a:endParaRPr>
          </a:p>
          <a:p>
            <a:r>
              <a:rPr lang="en-US" b="1" dirty="0">
                <a:solidFill>
                  <a:schemeClr val="tx2">
                    <a:lumMod val="50000"/>
                  </a:schemeClr>
                </a:solidFill>
              </a:rPr>
              <a:t>Content:</a:t>
            </a:r>
            <a:endParaRPr lang="en-US" dirty="0">
              <a:solidFill>
                <a:schemeClr val="tx2">
                  <a:lumMod val="50000"/>
                </a:schemeClr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Screenshots / sketches / prototype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Pilot sites and sample data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What technology or method is used? (AI, mobile app, redesign, process innovation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Value created in pilot (time saved, errors reduced)</a:t>
            </a:r>
          </a:p>
        </p:txBody>
      </p:sp>
    </p:spTree>
    <p:extLst>
      <p:ext uri="{BB962C8B-B14F-4D97-AF65-F5344CB8AC3E}">
        <p14:creationId xmlns:p14="http://schemas.microsoft.com/office/powerpoint/2010/main" val="294957008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DD96AB1C-674E-4550-9868-2578EC1EE46C}"/>
              </a:ext>
            </a:extLst>
          </p:cNvPr>
          <p:cNvSpPr txBox="1"/>
          <p:nvPr/>
        </p:nvSpPr>
        <p:spPr>
          <a:xfrm>
            <a:off x="1383506" y="1881991"/>
            <a:ext cx="6100762" cy="39703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tx2">
                    <a:lumMod val="50000"/>
                  </a:schemeClr>
                </a:solidFill>
              </a:rPr>
              <a:t>Slide 7 — Business &amp; Impact Model</a:t>
            </a:r>
          </a:p>
          <a:p>
            <a:r>
              <a:rPr lang="en-US" b="1" dirty="0">
                <a:solidFill>
                  <a:schemeClr val="tx2">
                    <a:lumMod val="50000"/>
                  </a:schemeClr>
                </a:solidFill>
              </a:rPr>
              <a:t>Title:</a:t>
            </a:r>
            <a:endParaRPr lang="en-US" dirty="0">
              <a:solidFill>
                <a:schemeClr val="tx2">
                  <a:lumMod val="50000"/>
                </a:schemeClr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 i="1" dirty="0">
                <a:solidFill>
                  <a:schemeClr val="tx2">
                    <a:lumMod val="50000"/>
                  </a:schemeClr>
                </a:solidFill>
              </a:rPr>
              <a:t>What Is the Real Value of Your Solution?</a:t>
            </a:r>
            <a:endParaRPr lang="en-US" dirty="0">
              <a:solidFill>
                <a:schemeClr val="tx2">
                  <a:lumMod val="50000"/>
                </a:schemeClr>
              </a:solidFill>
            </a:endParaRPr>
          </a:p>
          <a:p>
            <a:r>
              <a:rPr lang="en-US" b="1" dirty="0">
                <a:solidFill>
                  <a:schemeClr val="tx2">
                    <a:lumMod val="50000"/>
                  </a:schemeClr>
                </a:solidFill>
              </a:rPr>
              <a:t>Content:</a:t>
            </a:r>
            <a:br>
              <a:rPr lang="en-US" dirty="0">
                <a:solidFill>
                  <a:schemeClr val="tx2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Use a dual framework:</a:t>
            </a:r>
          </a:p>
          <a:p>
            <a:r>
              <a:rPr lang="en-US" b="1" dirty="0">
                <a:solidFill>
                  <a:schemeClr val="tx2">
                    <a:lumMod val="50000"/>
                  </a:schemeClr>
                </a:solidFill>
              </a:rPr>
              <a:t>Clinical Impact (if applicable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Reduction in risk/error/turnaround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Safety events prevented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Patient experience boost</a:t>
            </a:r>
          </a:p>
          <a:p>
            <a:r>
              <a:rPr lang="en-US" b="1" dirty="0">
                <a:solidFill>
                  <a:schemeClr val="tx2">
                    <a:lumMod val="50000"/>
                  </a:schemeClr>
                </a:solidFill>
              </a:rPr>
              <a:t>Business Impact (if applicable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Cost saving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Revenue or optimization potential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Productivity improvement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Can be productized? Subscription model?</a:t>
            </a:r>
          </a:p>
        </p:txBody>
      </p:sp>
    </p:spTree>
    <p:extLst>
      <p:ext uri="{BB962C8B-B14F-4D97-AF65-F5344CB8AC3E}">
        <p14:creationId xmlns:p14="http://schemas.microsoft.com/office/powerpoint/2010/main" val="150529270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2F03B48D-06ED-427A-BA73-E97997D819D1}"/>
              </a:ext>
            </a:extLst>
          </p:cNvPr>
          <p:cNvSpPr txBox="1"/>
          <p:nvPr/>
        </p:nvSpPr>
        <p:spPr>
          <a:xfrm>
            <a:off x="1212056" y="1879164"/>
            <a:ext cx="6100762" cy="25853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tx2">
                    <a:lumMod val="50000"/>
                  </a:schemeClr>
                </a:solidFill>
              </a:rPr>
              <a:t>Slide 8 — Execution Roadmap</a:t>
            </a:r>
          </a:p>
          <a:p>
            <a:r>
              <a:rPr lang="en-US" b="1" dirty="0">
                <a:solidFill>
                  <a:schemeClr val="tx2">
                    <a:lumMod val="50000"/>
                  </a:schemeClr>
                </a:solidFill>
              </a:rPr>
              <a:t>Title:</a:t>
            </a:r>
            <a:endParaRPr lang="en-US" dirty="0">
              <a:solidFill>
                <a:schemeClr val="tx2">
                  <a:lumMod val="50000"/>
                </a:schemeClr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 i="1" dirty="0">
                <a:solidFill>
                  <a:schemeClr val="tx2">
                    <a:lumMod val="50000"/>
                  </a:schemeClr>
                </a:solidFill>
              </a:rPr>
              <a:t>How Will You Deploy &amp; Scale?</a:t>
            </a:r>
            <a:endParaRPr lang="en-US" dirty="0">
              <a:solidFill>
                <a:schemeClr val="tx2">
                  <a:lumMod val="50000"/>
                </a:schemeClr>
              </a:solidFill>
            </a:endParaRPr>
          </a:p>
          <a:p>
            <a:r>
              <a:rPr lang="en-US" b="1" dirty="0">
                <a:solidFill>
                  <a:schemeClr val="tx2">
                    <a:lumMod val="50000"/>
                  </a:schemeClr>
                </a:solidFill>
              </a:rPr>
              <a:t>Content:</a:t>
            </a:r>
            <a:endParaRPr lang="en-US" dirty="0">
              <a:solidFill>
                <a:schemeClr val="tx2">
                  <a:lumMod val="50000"/>
                </a:schemeClr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Phase 1: Pilot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Phase 2: Validation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Phase 3: Scale to other hospital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Phase 4: Entrepreneurial Potential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Required support (minimal)</a:t>
            </a:r>
          </a:p>
        </p:txBody>
      </p:sp>
    </p:spTree>
    <p:extLst>
      <p:ext uri="{BB962C8B-B14F-4D97-AF65-F5344CB8AC3E}">
        <p14:creationId xmlns:p14="http://schemas.microsoft.com/office/powerpoint/2010/main" val="46112638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4D2DE14B-92DD-4474-A5A8-09FD79CEC85D}"/>
              </a:ext>
            </a:extLst>
          </p:cNvPr>
          <p:cNvSpPr txBox="1"/>
          <p:nvPr/>
        </p:nvSpPr>
        <p:spPr>
          <a:xfrm>
            <a:off x="1097756" y="2046238"/>
            <a:ext cx="6100762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tx2">
                    <a:lumMod val="50000"/>
                  </a:schemeClr>
                </a:solidFill>
              </a:rPr>
              <a:t>Slide 9 — Risks, Barriers &amp; Mitigation</a:t>
            </a:r>
          </a:p>
          <a:p>
            <a:r>
              <a:rPr lang="en-US" b="1" dirty="0">
                <a:solidFill>
                  <a:schemeClr val="tx2">
                    <a:lumMod val="50000"/>
                  </a:schemeClr>
                </a:solidFill>
              </a:rPr>
              <a:t>Title:</a:t>
            </a:r>
            <a:endParaRPr lang="en-US" dirty="0">
              <a:solidFill>
                <a:schemeClr val="tx2">
                  <a:lumMod val="50000"/>
                </a:schemeClr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 i="1" dirty="0">
                <a:solidFill>
                  <a:schemeClr val="tx2">
                    <a:lumMod val="50000"/>
                  </a:schemeClr>
                </a:solidFill>
              </a:rPr>
              <a:t>What Could Go Wrong, And How You Will Prevent It?</a:t>
            </a:r>
            <a:endParaRPr lang="en-US" dirty="0">
              <a:solidFill>
                <a:schemeClr val="tx2">
                  <a:lumMod val="50000"/>
                </a:schemeClr>
              </a:solidFill>
            </a:endParaRPr>
          </a:p>
          <a:p>
            <a:r>
              <a:rPr lang="en-US" b="1" dirty="0">
                <a:solidFill>
                  <a:schemeClr val="tx2">
                    <a:lumMod val="50000"/>
                  </a:schemeClr>
                </a:solidFill>
              </a:rPr>
              <a:t>Content:</a:t>
            </a:r>
            <a:endParaRPr lang="en-US" dirty="0">
              <a:solidFill>
                <a:schemeClr val="tx2">
                  <a:lumMod val="50000"/>
                </a:schemeClr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Operational risk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Tech adoption risk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Regulatory or quality risk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Mitigation strategy</a:t>
            </a:r>
          </a:p>
        </p:txBody>
      </p:sp>
    </p:spTree>
    <p:extLst>
      <p:ext uri="{BB962C8B-B14F-4D97-AF65-F5344CB8AC3E}">
        <p14:creationId xmlns:p14="http://schemas.microsoft.com/office/powerpoint/2010/main" val="31680783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o_MlhArrUC8qoZFzvTYQw"/>
</p:tagLst>
</file>

<file path=ppt/theme/theme1.xml><?xml version="1.0" encoding="utf-8"?>
<a:theme xmlns:a="http://schemas.openxmlformats.org/drawingml/2006/main" name="AMHL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MHL" id="{143EC109-5B32-44B1-9E3B-4FF29FDF26FB}" vid="{B0A77BF9-722B-482A-AF60-F432957B09E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6DE6786CBDA1541830A491DDFB22938" ma:contentTypeVersion="18" ma:contentTypeDescription="Create a new document." ma:contentTypeScope="" ma:versionID="58e7f219c5a035be24165a3fb6b332b3">
  <xsd:schema xmlns:xsd="http://www.w3.org/2001/XMLSchema" xmlns:xs="http://www.w3.org/2001/XMLSchema" xmlns:p="http://schemas.microsoft.com/office/2006/metadata/properties" xmlns:ns3="220fd6d6-812f-42b1-93ce-14ad908ccc48" xmlns:ns4="c635a911-81d9-4057-86a7-d1b98d8eeab9" targetNamespace="http://schemas.microsoft.com/office/2006/metadata/properties" ma:root="true" ma:fieldsID="315a127561b957205f655d56439dc36d" ns3:_="" ns4:_="">
    <xsd:import namespace="220fd6d6-812f-42b1-93ce-14ad908ccc48"/>
    <xsd:import namespace="c635a911-81d9-4057-86a7-d1b98d8eeab9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4:MediaServiceMetadata" minOccurs="0"/>
                <xsd:element ref="ns4:MediaServiceFastMetadata" minOccurs="0"/>
                <xsd:element ref="ns3:SharedWithDetails" minOccurs="0"/>
                <xsd:element ref="ns3:SharingHintHash" minOccurs="0"/>
                <xsd:element ref="ns4:MediaServiceDateTaken" minOccurs="0"/>
                <xsd:element ref="ns4:MediaServiceAutoTags" minOccurs="0"/>
                <xsd:element ref="ns4:MediaServiceOCR" minOccurs="0"/>
                <xsd:element ref="ns4:MediaServiceLocation" minOccurs="0"/>
                <xsd:element ref="ns4:MediaServiceGenerationTime" minOccurs="0"/>
                <xsd:element ref="ns4:MediaServiceEventHashCode" minOccurs="0"/>
                <xsd:element ref="ns4:MediaServiceAutoKeyPoints" minOccurs="0"/>
                <xsd:element ref="ns4:MediaServiceKeyPoints" minOccurs="0"/>
                <xsd:element ref="ns4:MediaLengthInSeconds" minOccurs="0"/>
                <xsd:element ref="ns4:_activity" minOccurs="0"/>
                <xsd:element ref="ns4:MediaServiceObjectDetectorVersions" minOccurs="0"/>
                <xsd:element ref="ns4:MediaServiceSystemTags" minOccurs="0"/>
                <xsd:element ref="ns4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20fd6d6-812f-42b1-93ce-14ad908ccc48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description="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635a911-81d9-4057-86a7-d1b98d8eeab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9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6" nillable="true" ma:displayName="Location" ma:internalName="MediaServiceLocatio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_activity" ma:index="22" nillable="true" ma:displayName="_activity" ma:hidden="true" ma:internalName="_activity">
      <xsd:simpleType>
        <xsd:restriction base="dms:Note"/>
      </xsd:simple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ystemTags" ma:index="24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c635a911-81d9-4057-86a7-d1b98d8eeab9" xsi:nil="true"/>
  </documentManagement>
</p:properties>
</file>

<file path=customXml/itemProps1.xml><?xml version="1.0" encoding="utf-8"?>
<ds:datastoreItem xmlns:ds="http://schemas.openxmlformats.org/officeDocument/2006/customXml" ds:itemID="{622586AC-59BF-4D27-BF77-68DC0C9BB93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20fd6d6-812f-42b1-93ce-14ad908ccc48"/>
    <ds:schemaRef ds:uri="c635a911-81d9-4057-86a7-d1b98d8eeab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A149CAC4-6D0E-49A8-88BD-D352774D624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F56A472-16D8-49D6-B60E-F0C63F44731F}">
  <ds:schemaRefs>
    <ds:schemaRef ds:uri="http://schemas.microsoft.com/office/infopath/2007/PartnerControls"/>
    <ds:schemaRef ds:uri="http://purl.org/dc/elements/1.1/"/>
    <ds:schemaRef ds:uri="c635a911-81d9-4057-86a7-d1b98d8eeab9"/>
    <ds:schemaRef ds:uri="http://schemas.openxmlformats.org/package/2006/metadata/core-properties"/>
    <ds:schemaRef ds:uri="http://purl.org/dc/dcmitype/"/>
    <ds:schemaRef ds:uri="http://schemas.microsoft.com/office/2006/metadata/properties"/>
    <ds:schemaRef ds:uri="http://www.w3.org/XML/1998/namespace"/>
    <ds:schemaRef ds:uri="http://schemas.microsoft.com/office/2006/documentManagement/types"/>
    <ds:schemaRef ds:uri="http://purl.org/dc/terms/"/>
    <ds:schemaRef ds:uri="220fd6d6-812f-42b1-93ce-14ad908ccc48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MHL</Template>
  <TotalTime>17190</TotalTime>
  <Words>460</Words>
  <Application>Microsoft Office PowerPoint</Application>
  <PresentationFormat>Widescreen</PresentationFormat>
  <Paragraphs>87</Paragraphs>
  <Slides>10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5" baseType="lpstr">
      <vt:lpstr>Arial</vt:lpstr>
      <vt:lpstr>Arial Black</vt:lpstr>
      <vt:lpstr>Calibri</vt:lpstr>
      <vt:lpstr>Times New Roman</vt:lpstr>
      <vt:lpstr>AMHL</vt:lpstr>
      <vt:lpstr>SAFE-A-TH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Quality Update</dc:title>
  <dc:creator>Apollo</dc:creator>
  <cp:lastModifiedBy>Balaji V</cp:lastModifiedBy>
  <cp:revision>1460</cp:revision>
  <dcterms:created xsi:type="dcterms:W3CDTF">2023-04-26T07:33:00Z</dcterms:created>
  <dcterms:modified xsi:type="dcterms:W3CDTF">2025-12-05T05:45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6FD6F140C999435BB6CC55E2498272AA_12</vt:lpwstr>
  </property>
  <property fmtid="{D5CDD505-2E9C-101B-9397-08002B2CF9AE}" pid="3" name="KSOProductBuildVer">
    <vt:lpwstr>1033-12.2.0.13177</vt:lpwstr>
  </property>
  <property fmtid="{D5CDD505-2E9C-101B-9397-08002B2CF9AE}" pid="4" name="ContentTypeId">
    <vt:lpwstr>0x01010076DE6786CBDA1541830A491DDFB22938</vt:lpwstr>
  </property>
</Properties>
</file>